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7" r:id="rId2"/>
    <p:sldId id="258" r:id="rId3"/>
    <p:sldId id="269" r:id="rId4"/>
    <p:sldId id="294" r:id="rId5"/>
  </p:sldIdLst>
  <p:sldSz cx="12192000" cy="6858000"/>
  <p:notesSz cx="6858000" cy="9144000"/>
  <p:custDataLst>
    <p:tags r:id="rId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BBAC6"/>
    <a:srgbClr val="DDF9B8"/>
    <a:srgbClr val="5D5B6F"/>
    <a:srgbClr val="14CE9F"/>
    <a:srgbClr val="F2F2F2"/>
    <a:srgbClr val="F6F6F9"/>
    <a:srgbClr val="C0BAA7"/>
    <a:srgbClr val="0000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39" autoAdjust="0"/>
    <p:restoredTop sz="95861" autoAdjust="0"/>
  </p:normalViewPr>
  <p:slideViewPr>
    <p:cSldViewPr snapToGrid="0" showGuides="1">
      <p:cViewPr varScale="1">
        <p:scale>
          <a:sx n="138" d="100"/>
          <a:sy n="138" d="100"/>
        </p:scale>
        <p:origin x="132" y="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2/1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2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80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243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10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-77190" y="2853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996420" y="2749688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ервис для проверки безопасности ссылок и QR-кодов</a:t>
            </a:r>
            <a:endParaRPr lang="en-US" sz="3600" b="1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55973" y="4383719"/>
            <a:ext cx="789931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6602885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431143"/>
            <a:ext cx="4632244" cy="1952576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3443" y="5736199"/>
            <a:ext cx="2846840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600" dirty="0">
                <a:solidFill>
                  <a:schemeClr val="lt1"/>
                </a:solidFill>
                <a:latin typeface="Gabriela" panose="00000500000000000000" pitchFamily="2" charset="0"/>
              </a:rPr>
              <a:t>Технологии</a:t>
            </a:r>
            <a:endParaRPr lang="en-US" sz="36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185711" y="5660840"/>
            <a:ext cx="2904572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754428" y="5569525"/>
            <a:ext cx="1302035" cy="720672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927035" y="4800169"/>
            <a:ext cx="354157" cy="172134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696994" y="1570119"/>
            <a:ext cx="121988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Python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697894" y="2555240"/>
            <a:ext cx="470000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django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json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jsbeautifier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	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697894" y="4508003"/>
            <a:ext cx="289502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JavaScript 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и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React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3901522" y="1617154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3901523" y="2597031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01523" y="4556785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3920369" y="5483760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4735588" y="5441450"/>
            <a:ext cx="270586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axios</a:t>
            </a:r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|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css</a:t>
            </a:r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 | html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46D4BD-DF91-6906-E2A1-E6234D4F2BA9}"/>
              </a:ext>
            </a:extLst>
          </p:cNvPr>
          <p:cNvSpPr txBox="1"/>
          <p:nvPr/>
        </p:nvSpPr>
        <p:spPr>
          <a:xfrm>
            <a:off x="4187273" y="406722"/>
            <a:ext cx="4796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ехнологии которые мы используем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406EAA-557A-8A42-0401-07F13C2ED60F}"/>
              </a:ext>
            </a:extLst>
          </p:cNvPr>
          <p:cNvSpPr txBox="1"/>
          <p:nvPr/>
        </p:nvSpPr>
        <p:spPr>
          <a:xfrm>
            <a:off x="5916880" y="954331"/>
            <a:ext cx="6133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Gabriela" panose="00000500000000000000" pitchFamily="2" charset="0"/>
              </a:rPr>
              <a:t>Backend</a:t>
            </a: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6D5467-5965-CA3F-B957-ABDD6191EEF1}"/>
              </a:ext>
            </a:extLst>
          </p:cNvPr>
          <p:cNvSpPr txBox="1"/>
          <p:nvPr/>
        </p:nvSpPr>
        <p:spPr>
          <a:xfrm>
            <a:off x="5916880" y="3693957"/>
            <a:ext cx="6133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Gabriela" panose="00000500000000000000" pitchFamily="2" charset="0"/>
              </a:rPr>
              <a:t>Frontend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3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5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6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</p:bldLst>
      </p:timing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8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2833989" y="5851465"/>
            <a:ext cx="6524022" cy="198189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3600" dirty="0"/>
          </a:p>
        </p:txBody>
      </p:sp>
      <p:sp>
        <p:nvSpPr>
          <p:cNvPr id="28" name="Rectangle 27"/>
          <p:cNvSpPr/>
          <p:nvPr/>
        </p:nvSpPr>
        <p:spPr>
          <a:xfrm>
            <a:off x="224334" y="3581502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117261" y="3558578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Ильин Кирилл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622249" y="3556444"/>
            <a:ext cx="2560076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Плюснин Александр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09674" y="3558578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Караваев Иван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25573" y="4546555"/>
            <a:ext cx="2805547" cy="483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– </a:t>
            </a:r>
            <a:r>
              <a:rPr lang="en-US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t.me/Nauryeasy</a:t>
            </a:r>
            <a:endParaRPr lang="ru-RU" sz="11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onref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944726" y="4546556"/>
            <a:ext cx="2805547" cy="483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</a:t>
            </a:r>
            <a:r>
              <a:rPr lang="en-US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- https://t.me/ShVePs86</a:t>
            </a:r>
          </a:p>
          <a:p>
            <a:pPr>
              <a:lnSpc>
                <a:spcPts val="2000"/>
              </a:lnSpc>
            </a:pP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shveps78</a:t>
            </a: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11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31437" y="4545488"/>
            <a:ext cx="2952897" cy="483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м  </a:t>
            </a:r>
            <a:r>
              <a:rPr lang="en-US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t.me/elogrus</a:t>
            </a:r>
            <a:endParaRPr lang="ru-RU" sz="11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ВК - </a:t>
            </a:r>
            <a:r>
              <a:rPr lang="en-US" sz="11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ttps://vk.com/elogru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25573" y="4168388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Программист </a:t>
            </a:r>
            <a:r>
              <a:rPr lang="en-US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Backend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46807" y="4109709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Тим Лидер</a:t>
            </a:r>
          </a:p>
          <a:p>
            <a:pPr algn="ctr"/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Программист </a:t>
            </a:r>
            <a:r>
              <a:rPr lang="en-US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Backen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8864517" y="4098215"/>
            <a:ext cx="2075541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Разработчик </a:t>
            </a:r>
            <a:r>
              <a:rPr lang="en-US" sz="1050" b="1" dirty="0">
                <a:solidFill>
                  <a:srgbClr val="5D5B6F"/>
                </a:solidFill>
                <a:latin typeface="Montserrat Light" panose="00000400000000000000" pitchFamily="2" charset="-18"/>
              </a:rPr>
              <a:t>Fronten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03807" y="6539"/>
            <a:ext cx="7350680" cy="732442"/>
          </a:xfrm>
        </p:spPr>
        <p:txBody>
          <a:bodyPr/>
          <a:lstStyle/>
          <a:p>
            <a:pPr algn="ctr"/>
            <a:r>
              <a:rPr lang="ru-RU" dirty="0">
                <a:latin typeface="Gabriela" panose="00000500000000000000" pitchFamily="2" charset="0"/>
              </a:rPr>
              <a:t>Связь с нашей командой</a:t>
            </a:r>
            <a:endParaRPr lang="en-US" dirty="0">
              <a:latin typeface="Gabriela" panose="00000500000000000000" pitchFamily="2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540442" y="6200775"/>
            <a:ext cx="271868" cy="0"/>
          </a:xfrm>
          <a:prstGeom prst="straightConnector1">
            <a:avLst/>
          </a:prstGeom>
          <a:ln w="12700">
            <a:solidFill>
              <a:srgbClr val="5D5B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06" name="Picture 74">
            <a:extLst>
              <a:ext uri="{FF2B5EF4-FFF2-40B4-BE49-F238E27FC236}">
                <a16:creationId xmlns:a16="http://schemas.microsoft.com/office/drawing/2014/main" id="{BF8B8C70-55F4-9D9D-857E-D672ABDB1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077" y="512473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4">
            <a:extLst>
              <a:ext uri="{FF2B5EF4-FFF2-40B4-BE49-F238E27FC236}">
                <a16:creationId xmlns:a16="http://schemas.microsoft.com/office/drawing/2014/main" id="{2EC2020C-B38E-AC71-2CAC-4C1D72E32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371" y="512473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4">
            <a:extLst>
              <a:ext uri="{FF2B5EF4-FFF2-40B4-BE49-F238E27FC236}">
                <a16:creationId xmlns:a16="http://schemas.microsoft.com/office/drawing/2014/main" id="{B14E9665-1443-EEF6-B228-1E1150BF5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378" y="513237"/>
            <a:ext cx="1286071" cy="723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30A77F6-E30E-EBC7-19AC-091A25BAD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2745" y="531658"/>
            <a:ext cx="2680962" cy="268096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A7FD0E6-6DB1-7EAC-0F75-6BD0C73518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6333" y="531658"/>
            <a:ext cx="2680962" cy="268096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36502AB-E0CF-0671-5487-8AE3B6A692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5573" y="537145"/>
            <a:ext cx="2669988" cy="266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5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-15202" y="0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996420" y="2749688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sz="3600" b="1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ПАСИБО ЗА ВНИМАНИЕ!</a:t>
            </a:r>
            <a:endParaRPr lang="en-US" sz="3600" b="1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55973" y="4345052"/>
            <a:ext cx="773883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nullpointerException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6389129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431143"/>
            <a:ext cx="4632244" cy="208148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1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4</TotalTime>
  <Words>114</Words>
  <Application>Microsoft Office PowerPoint</Application>
  <PresentationFormat>Широкоэкранный</PresentationFormat>
  <Paragraphs>32</Paragraphs>
  <Slides>4</Slides>
  <Notes>4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2" baseType="lpstr">
      <vt:lpstr>Arial</vt:lpstr>
      <vt:lpstr>Calibri</vt:lpstr>
      <vt:lpstr>Gabriela</vt:lpstr>
      <vt:lpstr>Montserrat</vt:lpstr>
      <vt:lpstr>Montserrat Light</vt:lpstr>
      <vt:lpstr>Montserrat Medium</vt:lpstr>
      <vt:lpstr>Office Theme</vt:lpstr>
      <vt:lpstr>think-cell Slide</vt:lpstr>
      <vt:lpstr>Презентация PowerPoint</vt:lpstr>
      <vt:lpstr>Презентация PowerPoint</vt:lpstr>
      <vt:lpstr>Связь с нашей командой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Кирилл Кириллов</cp:lastModifiedBy>
  <cp:revision>179</cp:revision>
  <dcterms:created xsi:type="dcterms:W3CDTF">2017-06-30T07:56:32Z</dcterms:created>
  <dcterms:modified xsi:type="dcterms:W3CDTF">2023-02-17T22:23:57Z</dcterms:modified>
</cp:coreProperties>
</file>